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294" r:id="rId10"/>
    <p:sldId id="296" r:id="rId11"/>
    <p:sldId id="295" r:id="rId12"/>
    <p:sldId id="297" r:id="rId13"/>
    <p:sldId id="298" r:id="rId14"/>
    <p:sldId id="299" r:id="rId15"/>
    <p:sldId id="300" r:id="rId16"/>
    <p:sldId id="301" r:id="rId17"/>
    <p:sldId id="312" r:id="rId18"/>
    <p:sldId id="313" r:id="rId19"/>
    <p:sldId id="302" r:id="rId20"/>
    <p:sldId id="303" r:id="rId21"/>
    <p:sldId id="304" r:id="rId22"/>
    <p:sldId id="305" r:id="rId23"/>
    <p:sldId id="306" r:id="rId24"/>
    <p:sldId id="307" r:id="rId25"/>
    <p:sldId id="308" r:id="rId26"/>
    <p:sldId id="309" r:id="rId27"/>
    <p:sldId id="310" r:id="rId28"/>
    <p:sldId id="256" r:id="rId29"/>
    <p:sldId id="257" r:id="rId30"/>
    <p:sldId id="258" r:id="rId31"/>
    <p:sldId id="259" r:id="rId32"/>
    <p:sldId id="260" r:id="rId33"/>
    <p:sldId id="261" r:id="rId34"/>
    <p:sldId id="262" r:id="rId35"/>
    <p:sldId id="263" r:id="rId36"/>
    <p:sldId id="264" r:id="rId37"/>
    <p:sldId id="265" r:id="rId38"/>
    <p:sldId id="266" r:id="rId39"/>
    <p:sldId id="267" r:id="rId40"/>
    <p:sldId id="268" r:id="rId41"/>
    <p:sldId id="269" r:id="rId42"/>
    <p:sldId id="270" r:id="rId43"/>
    <p:sldId id="277" r:id="rId44"/>
    <p:sldId id="278" r:id="rId45"/>
    <p:sldId id="279" r:id="rId46"/>
    <p:sldId id="280" r:id="rId47"/>
    <p:sldId id="283" r:id="rId48"/>
    <p:sldId id="284" r:id="rId49"/>
  </p:sldIdLst>
  <p:sldSz cx="12193588" cy="6858000"/>
  <p:notesSz cx="7559675" cy="10691813"/>
  <p:custDataLst>
    <p:tags r:id="rId5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294"/>
            <p14:sldId id="296"/>
            <p14:sldId id="295"/>
            <p14:sldId id="297"/>
            <p14:sldId id="298"/>
            <p14:sldId id="299"/>
            <p14:sldId id="300"/>
            <p14:sldId id="301"/>
            <p14:sldId id="312"/>
            <p14:sldId id="313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399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hyperlink" Target="https://github.com/emilybache/GildedRose-Refactoring-K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Key </a:t>
            </a:r>
            <a:r>
              <a:rPr lang="de-DE" dirty="0" err="1"/>
              <a:t>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zu mach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,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92358"/>
          </a:xfrm>
        </p:spPr>
        <p:txBody>
          <a:bodyPr/>
          <a:lstStyle/>
          <a:p>
            <a:pPr lvl="0"/>
            <a:r>
              <a:rPr lang="en-US" dirty="0"/>
              <a:t>Golden Master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Integration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ur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358934"/>
          </a:xfrm>
        </p:spPr>
        <p:txBody>
          <a:bodyPr/>
          <a:lstStyle/>
          <a:p>
            <a:pPr lvl="0"/>
            <a:r>
              <a:rPr lang="de-DE" dirty="0"/>
              <a:t>Sortiere zusammenhänge Code Zeilen nahe zusammen</a:t>
            </a:r>
          </a:p>
          <a:p>
            <a:pPr lvl="0"/>
            <a:r>
              <a:rPr lang="de-DE" dirty="0"/>
              <a:t>Erkenne zusammenhänge Zeilen</a:t>
            </a:r>
          </a:p>
          <a:p>
            <a:pPr lvl="0"/>
            <a:r>
              <a:rPr lang="de-DE" dirty="0"/>
              <a:t>Extrahiere diese 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in der Klasse nicht </a:t>
            </a:r>
            <a:r>
              <a:rPr lang="de-DE" dirty="0">
                <a:sym typeface="Wingdings" panose="05000000000000000000" pitchFamily="2" charset="2"/>
              </a:rPr>
              <a:t> überlege, ob diese Methoden in ein eigene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{</a:t>
            </a:r>
          </a:p>
          <a:p>
            <a:pPr algn="l"/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1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User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(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bil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fax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addre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1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1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1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create user "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1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  <a:endParaRPr lang="en-US" sz="11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extract-class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sind Konzep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nd zu viele Details?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feature Envy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Kollaboration zwischen Objekten ist gewollt, schließlich gestalten wir Klassen entsprechend (abstrakten) Konzepten zur Abstraktion und besseren Wiederverwendung.</a:t>
            </a:r>
          </a:p>
          <a:p>
            <a:pPr lvl="0"/>
            <a:r>
              <a:rPr lang="de-DE" dirty="0"/>
              <a:t>Wenn nun eine Klasse/Methode eine andere ständig Fragen muss, so wirft dies die Frage auf, ob diese korrekt </a:t>
            </a:r>
            <a:r>
              <a:rPr lang="de-DE" dirty="0" err="1"/>
              <a:t>designed</a:t>
            </a:r>
            <a:r>
              <a:rPr lang="de-DE" dirty="0"/>
              <a:t> wurd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Relevante Informationen zur Erledigung einer Aufgabe ist woanders beheimatet als dort wo diese gebraucht wir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Internas</a:t>
            </a:r>
            <a:r>
              <a:rPr lang="de-DE" dirty="0"/>
              <a:t> sind weithin sichtbar und implizit umfangreiche Änderungen</a:t>
            </a:r>
          </a:p>
          <a:p>
            <a:pPr lvl="0"/>
            <a:r>
              <a:rPr lang="de-DE" dirty="0"/>
              <a:t>Dies nennt man </a:t>
            </a:r>
            <a:r>
              <a:rPr lang="de-DE" b="1" dirty="0">
                <a:solidFill>
                  <a:schemeClr val="accent6"/>
                </a:solidFill>
              </a:rPr>
              <a:t>feature </a:t>
            </a:r>
            <a:r>
              <a:rPr lang="de-DE" b="1" dirty="0" err="1">
                <a:solidFill>
                  <a:schemeClr val="accent6"/>
                </a:solidFill>
              </a:rPr>
              <a:t>envy</a:t>
            </a:r>
            <a:r>
              <a:rPr lang="de-DE" b="1" dirty="0">
                <a:solidFill>
                  <a:schemeClr val="accent6"/>
                </a:solidFill>
              </a:rPr>
              <a:t> und macht Code sehr rigide und schwierig zu veränder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3745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Welcome to the cinema of Horror movies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User(18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Movie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ovie(</a:t>
            </a:r>
            <a:r>
              <a:rPr lang="en-US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Horror of the Code"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Walle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EntryFe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Rat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 visits 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feature-envy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7666181" y="2876355"/>
            <a:ext cx="4205995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eht man feature-</a:t>
            </a:r>
            <a:r>
              <a:rPr lang="de-DE" kern="0" dirty="0" err="1"/>
              <a:t>envy</a:t>
            </a:r>
            <a:r>
              <a:rPr lang="de-DE" kern="0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ie kann das gelöst werden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Prozess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Code?</a:t>
            </a:r>
          </a:p>
        </p:txBody>
      </p:sp>
    </p:spTree>
    <p:extLst>
      <p:ext uri="{BB962C8B-B14F-4D97-AF65-F5344CB8AC3E}">
        <p14:creationId xmlns:p14="http://schemas.microsoft.com/office/powerpoint/2010/main" val="13471761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2" b="15262"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Code Coverage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Code Coverage Analyse/Darstellung zeigt, welcher Code zur Ausführung komm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Code wurde überhaupt nicht ausgeführt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wurde sehr häufig ausgeführt?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Aufwände</a:t>
            </a:r>
            <a:r>
              <a:rPr lang="de-DE" dirty="0"/>
              <a:t> für das Erstellen von Unittest </a:t>
            </a:r>
            <a:r>
              <a:rPr lang="de-DE" b="1" dirty="0">
                <a:solidFill>
                  <a:schemeClr val="accent6"/>
                </a:solidFill>
              </a:rPr>
              <a:t>zu lenk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gezielt</a:t>
            </a:r>
            <a:r>
              <a:rPr lang="de-DE" dirty="0"/>
              <a:t> </a:t>
            </a:r>
            <a:r>
              <a:rPr lang="de-DE" dirty="0" err="1"/>
              <a:t>refactoring</a:t>
            </a:r>
            <a:r>
              <a:rPr lang="de-DE" dirty="0"/>
              <a:t> </a:t>
            </a:r>
            <a:r>
              <a:rPr lang="de-DE" b="1" dirty="0">
                <a:solidFill>
                  <a:schemeClr val="accent6"/>
                </a:solidFill>
              </a:rPr>
              <a:t>zu planen und durchzuführe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Simple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oMag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&gt; 100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9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else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3 +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5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elche </a:t>
            </a:r>
            <a:r>
              <a:rPr lang="de-DE" kern="0" dirty="0" err="1"/>
              <a:t>branches</a:t>
            </a:r>
            <a:r>
              <a:rPr lang="de-DE" kern="0" dirty="0"/>
              <a:t> gibt 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iesen Code in die IDE abtip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en Code zur Ausführung br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Code Coverage Tool (ggf. in der IDE) aktivieren und die </a:t>
            </a:r>
            <a:r>
              <a:rPr lang="de-DE" kern="0" dirty="0" err="1"/>
              <a:t>branches</a:t>
            </a:r>
            <a:r>
              <a:rPr lang="de-DE" kern="0" dirty="0"/>
              <a:t> anschau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ehrere Unittest schreiben, welche alle </a:t>
            </a:r>
            <a:r>
              <a:rPr lang="de-DE" kern="0" dirty="0" err="1"/>
              <a:t>branches</a:t>
            </a:r>
            <a:r>
              <a:rPr lang="de-DE" kern="0" dirty="0"/>
              <a:t> abgedeckt sind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Lese die README.m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inde den kürzesten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chreibe hierfür einen Test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teile und Vor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5D0249-E9E2-4486-8574-2EE089713B80}"/>
              </a:ext>
            </a:extLst>
          </p:cNvPr>
          <p:cNvSpPr/>
          <p:nvPr/>
        </p:nvSpPr>
        <p:spPr>
          <a:xfrm>
            <a:off x="7592291" y="1403927"/>
            <a:ext cx="4137891" cy="1533237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: </a:t>
            </a:r>
            <a:r>
              <a:rPr lang="en-US" dirty="0" err="1">
                <a:solidFill>
                  <a:schemeClr val="tx1"/>
                </a:solidFill>
              </a:rPr>
              <a:t>tiefst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zuers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over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erfahren</a:t>
            </a:r>
            <a:r>
              <a:rPr lang="en-US" dirty="0">
                <a:solidFill>
                  <a:schemeClr val="tx1"/>
                </a:solidFill>
              </a:rPr>
              <a:t> was </a:t>
            </a:r>
            <a:r>
              <a:rPr lang="en-US" dirty="0" err="1">
                <a:solidFill>
                  <a:schemeClr val="tx1"/>
                </a:solidFill>
              </a:rPr>
              <a:t>dies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macht</a:t>
            </a:r>
            <a:r>
              <a:rPr lang="en-US" dirty="0">
                <a:solidFill>
                  <a:schemeClr val="tx1"/>
                </a:solidFill>
              </a:rPr>
              <a:t>, code </a:t>
            </a:r>
            <a:r>
              <a:rPr lang="en-US" dirty="0" err="1">
                <a:solidFill>
                  <a:schemeClr val="tx1"/>
                </a:solidFill>
              </a:rPr>
              <a:t>extrahier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od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eduziere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youtube</a:t>
            </a:r>
            <a:r>
              <a:rPr lang="en-US" dirty="0">
                <a:solidFill>
                  <a:schemeClr val="tx1"/>
                </a:solidFill>
              </a:rPr>
              <a:t>-code und Link </a:t>
            </a:r>
            <a:r>
              <a:rPr lang="en-US" dirty="0" err="1">
                <a:solidFill>
                  <a:schemeClr val="tx1"/>
                </a:solidFill>
              </a:rPr>
              <a:t>hinzufügen</a:t>
            </a:r>
            <a:r>
              <a:rPr lang="en-US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 geleitet durch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8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6"/>
            <a:ext cx="2650836" cy="1791855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utze</a:t>
            </a:r>
            <a:r>
              <a:rPr lang="en-US" dirty="0">
                <a:solidFill>
                  <a:schemeClr val="tx1"/>
                </a:solidFill>
              </a:rPr>
              <a:t> die IDE”, was </a:t>
            </a:r>
            <a:r>
              <a:rPr lang="en-US" dirty="0" err="1">
                <a:solidFill>
                  <a:schemeClr val="tx1"/>
                </a:solidFill>
              </a:rPr>
              <a:t>siehst</a:t>
            </a:r>
            <a:r>
              <a:rPr lang="en-US" dirty="0">
                <a:solidFill>
                  <a:schemeClr val="tx1"/>
                </a:solidFill>
              </a:rPr>
              <a:t> du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1-2h? Wie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unterteile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32113395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4247317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 2</a:t>
            </a:r>
          </a:p>
        </p:txBody>
      </p:sp>
    </p:spTree>
    <p:extLst>
      <p:ext uri="{BB962C8B-B14F-4D97-AF65-F5344CB8AC3E}">
        <p14:creationId xmlns:p14="http://schemas.microsoft.com/office/powerpoint/2010/main" val="2075985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Rose #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- </a:t>
            </a:r>
            <a:r>
              <a:rPr lang="en-US" dirty="0" err="1">
                <a:solidFill>
                  <a:schemeClr val="tx1"/>
                </a:solidFill>
              </a:rPr>
              <a:t>Stückweis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übung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ür</a:t>
            </a:r>
            <a:r>
              <a:rPr lang="en-US" dirty="0">
                <a:solidFill>
                  <a:schemeClr val="tx1"/>
                </a:solidFill>
              </a:rPr>
              <a:t> refactori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E1D335-6E05-4B6F-8D2D-DF6F926606A9}"/>
              </a:ext>
            </a:extLst>
          </p:cNvPr>
          <p:cNvSpPr/>
          <p:nvPr/>
        </p:nvSpPr>
        <p:spPr>
          <a:xfrm>
            <a:off x="7403119" y="4558146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linkClick r:id="rId6"/>
              </a:rPr>
              <a:t>https://github.com/emilybache/GildedRose-Refactoring-Kata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8631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54</Words>
  <Application>Microsoft Office PowerPoint</Application>
  <PresentationFormat>Benutzerdefiniert</PresentationFormat>
  <Paragraphs>384</Paragraphs>
  <Slides>4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6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Seams und Golden master</vt:lpstr>
      <vt:lpstr>Key 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Was ist feature Envy?</vt:lpstr>
      <vt:lpstr>Feature envy</vt:lpstr>
      <vt:lpstr>Code Coverage</vt:lpstr>
      <vt:lpstr>Was sind Code Coverage?</vt:lpstr>
      <vt:lpstr>Einfache Code Coverage</vt:lpstr>
      <vt:lpstr>Schreibe einen Unittest mithilfe von Code Coverage</vt:lpstr>
      <vt:lpstr>Vorteile und Vorteile</vt:lpstr>
      <vt:lpstr>Refactoring geleitet durch Code Coverage</vt:lpstr>
      <vt:lpstr>Pattern 2</vt:lpstr>
      <vt:lpstr>Alles Zusammen</vt:lpstr>
      <vt:lpstr>Golden Rose #1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215</cp:revision>
  <dcterms:created xsi:type="dcterms:W3CDTF">2019-07-01T16:47:04Z</dcterms:created>
  <dcterms:modified xsi:type="dcterms:W3CDTF">2021-06-28T09:28:27Z</dcterms:modified>
</cp:coreProperties>
</file>